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0"/>
  </p:notesMasterIdLst>
  <p:handoutMasterIdLst>
    <p:handoutMasterId r:id="rId21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069" r:id="rId14"/>
    <p:sldId id="2145706075" r:id="rId15"/>
    <p:sldId id="2145706106" r:id="rId16"/>
    <p:sldId id="2145706108" r:id="rId17"/>
    <p:sldId id="2145706109" r:id="rId18"/>
    <p:sldId id="2145705823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41" clrIdx="0">
    <p:extLst>
      <p:ext uri="{19B8F6BF-5375-455C-9EA6-DF929625EA0E}">
        <p15:presenceInfo xmlns:p15="http://schemas.microsoft.com/office/powerpoint/2012/main" userId="Legion" providerId="None"/>
      </p:ext>
    </p:extLst>
  </p:cmAuthor>
  <p:cmAuthor id="2" name="Dang Tai" initials="DT" lastIdx="6" clrIdx="1">
    <p:extLst>
      <p:ext uri="{19B8F6BF-5375-455C-9EA6-DF929625EA0E}">
        <p15:presenceInfo xmlns:p15="http://schemas.microsoft.com/office/powerpoint/2012/main" userId="33320edc9f915d5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95" autoAdjust="0"/>
    <p:restoredTop sz="90886" autoAdjust="0"/>
  </p:normalViewPr>
  <p:slideViewPr>
    <p:cSldViewPr snapToGrid="0">
      <p:cViewPr varScale="1">
        <p:scale>
          <a:sx n="78" d="100"/>
          <a:sy n="78" d="100"/>
        </p:scale>
        <p:origin x="91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5481" y="2302"/>
    <p:text>## list mentor default khi chưa có filter sẽ sort theo tên 
```sql 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5
GROUP BY u.id, u.name, u.location_id, j.name, u.role_id
ORDER BY u.name A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712" y="2223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778" y="2918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778" y="3014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  <p:cm authorId="1" dt="2024-07-02T10:48:41.882" idx="37">
    <p:pos x="5764" y="2296"/>
    <p:text>## lay mentor rating theo location va top rating
```sql
SELECT 
	u.id, u.name, l.name as location, u.role_id , j.name as jobtitle
	,COALESCE(AVG(f.rating),0) as average_rating
FROM Userr u
JOIN Jobtitle j ON  u.jobtitle_id = j.id
JOIN Location l on u.location_id = l.id
LEFT JOIN Program p ON u.id = p.mentor_id
LEFT JOIN Challenge c ON u.id = c.mentor_id
LEFT JOIN Course co ON u.id = co.mentor_id
LEFT JOIN Review f ON f.receiver_id = p.id OR f.receiver_id = c.id OR f.receiver_id = co.id
WHERE l.name ='Ho Chi Minh' AND u.role_id = '5'
GROUP BY u.id, u.name, 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49:41.891" idx="38">
    <p:pos x="6380" y="2286"/>
    <p:text>## Lay mentor theo ten company
SELECT 
    u.name,
    l.name as location,
    c.name as company,
    c.img as imgcompany,
    COALESCE(AVG(f.rating), 0) as average_rating
FROM Userr u
JOIN experience e ON u.id = e.user_id
JOIN company c ON e.company_id = c.id
JOIN Location l ON u.location_id = l.id
LEFT JOIN Program p ON u.id = p.mentor_id
LEFT JOIN Challenge ch ON u.id = ch.mentor_id
LEFT JOIN Course co ON u.id = co.mentor_id
LEFT JOIN Review f ON f.receiver_id = p.id OR f.receiver_id = ch.id OR f.receiver_id = co.id
WHERE c.name = 'bbv' and u.role_id = 5
GROUP BY u.name, l.name, c.name, c.img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1:44.646" idx="39">
    <p:pos x="6074" y="2283"/>
    <p:text>## Lay mentor theo top rating (program , challenges , course)
```sql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5'
GROUP BY u.id, u.name, u.location_id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6:26.266" idx="40">
    <p:pos x="5795" y="2642"/>
    <p:text>## Lay mentor theo jobtitle va top rating
SELECT 
	u.id, u.name, u.location_id, j.name as jobtitle, u.role_id
	,COALESCE(AVG(f.rating),0) as average_rating
FROM Userr u
JOIN Jobtitle j ON  u.jobtitle_id = j.id
LEFT JOIN Program p ON u.id = p.mentor_id
LEFT JOIN Challenge c ON u.id = c.mentor_id
LEFT JOIN Course co ON u.id = co.mentor_id
LEFT JOIN Review f ON f.receiver_id = p.id OR f.receiver_id = c.id OR f.receiver_id = co.id
WHERE u.role_id = '5' and j.name = 'UI/UX Designer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5142" y="748"/>
    <p:text>## lay name , jobtitle , role , totalprogram , avgrating , totalfollowers , totalstudent, totalfeedback  cua mentor
```sql
SELECT 
    u.id,
    u.name,
    j.name as jobtitle,
    u.location_id,
    u.role_id,
    (SELECT COUNT(*) 
     FROM Program 
     WHERE mentor_id = '1') as total_programs,
    (SELECT COUNT(*)
     FROM Review fm
     LEFT JOIN Program p ON fm.receiver_id = p.id
     LEFT JOIN Challenge c ON fm.receiver_id = c.id
     LEFT JOIN Course co ON fm.receiver_id = co.id
     WHERE p.mentor_id = '1' OR c.mentor_id = '1' OR co.mentor_id = '1') as total_feedback,
    (SELECT COUNT(DISTINCT pu.user_id) 
     FROM Program p 
     JOIN ProgramUser pu ON p.id = pu.program_id 
     WHERE p.mentor_id = '1') as total_users_in_programs,
    (SELECT COUNT(*) 
     FROM FollowUser 
     WHERE followee_id = '1') as total_followers,
    (SELECT 
     COALESCE(AVG(fm.rating),0)
     FROM Review fm
     LEFT JOIN Program p ON fm.receiver_id = p.id
     LEFT JOIN Challenge c ON fm.receiver_id = c.id
     LEFT JOIN Course co ON fm.receiver_id = co.id
     WHERE p.mentor_id = '1' OR c.mentor_id = '1' OR co.mentor_id = '1') as average_rating
FROM Userr u 
JOIN Jobtitle j on u.jobtitle_id = j.id
WHERE u.id = '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787" y="1457"/>
    <p:text>SELECT 
    p.id,
    p.name,
    p.price,
    AVG(f.rating) AS total_rating
FROM 
    Review f
JOIN 
    Program p ON f.receiver_id = p.id
JOIN 
    Userr sender ON f.sender_id = sender.id
WHERE 
    p.mentor_id = '2'
GROUP BY   
    p.id,
    p.name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679" y="2769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999" y="2746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288" y="2737"/>
    <p:text>SELECT 
    fm.sender_id,
    fm.rating, 
    fm.content,
    CASE 
        WHEN P.name IS NOT NULL THEN CONCAT('Program: ', P.name)
        WHEN C.name IS NOT NULL THEN CONCAT('Challenge: ', C.name)
        WHEN CO.name IS NOT NULL THEN CONCAT('Course: ', CO.name)
    END AS name
FROM Review FM
LEFT JOIN Program P ON FM.receiver_id = P.id AND fm.sourcetype_id = '3'
LEFT JOIN Challenge C ON FM.receiver_id = C.id AND fm.sourcetype_id = '2'
LEFT JOIN Course CO ON FM.receiver_id = CO.id AND fm.sourcetype_id = '1'
WHERE 
    P.mentor_id = '2' OR 
    C.mentor_id = '2' OR 
    CO.mentor_id = '2';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18:57.622" idx="1">
    <p:pos x="4841" y="4302"/>
    <p:text>Select s.name from UserSkill u
JOIN Skill s on u.skill_id = s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21:11.149" idx="2">
    <p:pos x="4878" y="5039"/>
    <p:text>SELECT un.name,un.img, u.degree FROM Education u 
JOIN University un on u.university_id = un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2:07.006" idx="3">
    <p:pos x="5153" y="432"/>
    <p:text>SELECT c.category_name from Program p
JOIN Category c on p.category_id = c.id
WHERE p.mentor_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3:47.678" idx="4">
    <p:pos x="4872" y="418"/>
    <p:text>Select s.setting_name as role from Userr u
JOIN Setting s on u.role_id = s.id
WHERE u.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5:30.929" idx="5">
    <p:pos x="6701" y="1868"/>
    <p:text>Select a.startAt,a.endAt,p.name,p.price,p.image from AdsProgram a
JOIN Program p on a.program_id = p.id
WHERE p.mento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55:58.022" idx="6">
    <p:pos x="6111" y="221"/>
    <p:text>SELECT TOP 10 u.name AS mentor_name, AVG(r.rating) AS average_rating, COUNT(pu.id) AS student_enrollment
FROM Userr u
LEFT JOIN Review r ON u.id = r.receiver_id
LEFT JOIN ProgramUser pu ON u.id = pu.user_id
WHERE u.role_id = 5
GROUP BY u.id, u.name
ORDER BY average_rating DESC, student_enrollment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00:19.583" idx="3">
    <p:pos x="4706" y="1880"/>
    <p:text>## SELECT ALL FOLLOWER
```sql
SELECT u.name,l.name,DATE(f.datefollow)
FROM followuser f
JOIN userr u on f.follower_id = u.id
JOIN location l on u.location_id = l.id
WHERE f.followee_id = 'U1'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0:23.915" idx="8">
    <p:pos x="4496" y="893"/>
    <p:text>## Dem so luong tat ca follower
```sql
SELECT count(*) 
FROM Follow f 
WHERE followee_id = 'U1'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0:50.962" idx="9">
    <p:pos x="6666" y="964"/>
    <p:text>## dem new follower
SELECT COUNT(*) AS newuser
FROM followuser f
WHERE DATE(f.datefollow) = CURDATE()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r.name as role,
    (SELECT COUNT(*) 
     FROM Follow 
     WHERE follower_id = 'U3') as total_followers
FROM Userr u 
JOIN Jobtitle j on u.jobtitle_id = j.id
JOIN Location l on u.location_id = l.id
JOIN Role r on u.role_id = r.id
WHERE u.id = 'U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4:46.397" idx="10">
    <p:pos x="5982" y="657"/>
    <p:text>SELECT ci.id AS CertID, 
       ci.credentialcode, 
       ci.certified_at, 
       COALESCE(p.name, c.name, ch.name) AS CertName
FROM CredentialIssued ci
JOIN SourceTemplate st ON ci.sourcetemplate_id = st.id
LEFT JOIN Program p ON st.source_id = p.id AND st.sourcetype_id = 'S3'
LEFT JOIN Course c ON st.source_id = c.id AND st.sourcetype_id = 'S1'
LEFT JOIN Challenge ch ON st.source_id = ch.id AND st.sourcetype_id = 'S2'
WHERE ci.user_id = 'U3';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5:26.237" idx="11">
    <p:pos x="5636" y="663"/>
    <p:text>SELECT 
    j.name as jobtitle,
    c.name AS company_name,
    e.type
FROM 
    Experience e
JOIN 
    Company c ON e.company_id = c.id
JOIN 
	Jobtitle j on e.jobtitle_id = j.id
WHERE 
    e.user_id = 'U4'
UNION
SELECT 
    p.name AS jobtitle,
    u.name AS company_name,
    'Training' AS type
FROM 
    ProgramUser pu
JOIN 
    Program p ON pu.program_id = p.id
JOIN 
    Userr u ON p.mentor_id = u.id
WHERE 
    pu.user_id = 'U4' and pu.status ='Completed';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    (SELECT COUNT(*) FROM Userr) AS TotalUsers,
    (SELECT COUNT(*) FROM Userr
     WHERE MONTH(createAt) = MONTH(GETDATE()) 
       AND YEAR(createAt) = YEAR(GETDATE())) AS UsersThisMonth,
    ROUND(
        (
            (SELECT COUNT(*) FROM Userr
             WHERE MONTH(createAt) = MONTH(GETDATE()) 
               AND YEAR(createAt) = YEAR(GETDATE())) -
            (SELECT COUNT(*) FROM Userr
             WHERE MONTH(createAt) = MONTH(DATEADD(MONTH, -1, GETDATE())) 
               AND YEAR(createAt) = YEAR(GETDATE()))
        ) / NULLIF((SELECT COUNT(*) FROM Userr 
                    WHERE MONTH(createAt) = MONTH(DATEADD(MONTH, -1, GETDATE())) 
                      AND YEAR(createAt) = YEAR(GETDATE())), 0) * 100, 2
    ) AS PercentageChangeThisMonth,
    (SELECT COUNT(*) FROM Userr
     WHERE DATEPART(ISO_WEEK, createAt) = DATEPART(ISO_WEEK, GETDATE()) 
       AND YEAR(createAt) = YEAR(GETDATE())) AS UsersThisWeek,
    ROUND(
        (
            (SELECT COUNT(*) FROM Userr 
             WHERE DATEPART(ISO_WEEK, createAt) = DATEPART(ISO_WEEK, GETDATE()) 
               AND YEAR(createAt) = YEAR(GETDATE())) -
            (SELECT COUNT(*) FROM Userr
             WHERE DATEPART(ISO_WEEK, createAt) = DATEPART(ISO_WEEK, DATEADD(WEEK, -1, GETDATE())) 
               AND YEAR(createAt) = YEAR(GETDATE()))
        ) / NULLIF((SELECT COUNT(*) FROM Userr
                    WHERE DATEPART(ISO_WEEK, createAt) = DATEPART(ISO_WEEK, DATEADD(WEEK, -1, GETDATE())) 
                      AND YEAR(createAt) = YEAR(GETDATE())), 0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'R2' THEN 1 ELSE 0 END) AS TotalMentees,
    -- Total Mentors
    SUM(CASE WHEN role_id = 'R1' THEN 1 ELSE 0 END) AS TotalMentors,
    -- Percentage of Mentees
    ROUND(
        (SUM(CASE WHEN role_id = 'R2' THEN 1 ELSE 0 END) * 100.0 / COUNT(*)), 2
    ) AS PercentageMentees,
    -- Percentage of Mentors
    ROUND(
        (SUM(CASE WHEN role_id = 'R1' THEN 1 ELSE 0 END) * 100.0 / COUNT(*)), 2
    ) AS PercentageMentors
FROM Userr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847" y="1707"/>
    <p:text>SELECT 
    -- Mentors This Month
    (SELECT COUNT(*) FROM Userr
     WHERE role_id = 'R1') AS TotalMentor,
    -- Percentage Change in Mentors This Month
    CASE
        WHEN (SELECT COUNT(*) FROM Userr
              WHERE role_id = 'R1' 
                AND MONTH(createAt) = MONTH(DATEADD(MONTH, -1, GETDATE())) 
                AND YEAR(createAt) = YEAR(GETDATE())) = 0 THEN 0
        ELSE ROUND(
            (
                (SELECT COUNT(*) FROM Userr
                 WHERE role_id = 'R1' 
                   AND MONTH(createAt) = MONTH(GETDATE()) 
                   AND YEAR(createAt) = YEAR(GETDATE())) -
                (SELECT COUNT(*) FROM Userr
                 WHERE role_id = 'R1' 
                   AND MONTH(createAt) = MONTH(DATEADD(MONTH, -1, GETDATE())) 
                   AND YEAR(createAt) = YEAR(GETDATE()))
            ) * 100.0 / NULLIF(
                (SELECT COUNT(*) FROM Userr
                 WHERE role_id = 'R1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84" y="1249"/>
    <p:text>SELECT 
    -- Mentors This Month
    (SELECT COUNT(*) FROM Userr
     WHERE role_id = 'R2') AS TotalMentor,
    -- Percentage Change in Mentors This Month
    CASE
        WHEN (SELECT COUNT(*) FROM Userr
              WHERE role_id = 'R2' 
                AND MONTH(createAt) = MONTH(DATEADD(MONTH, -1, GETDATE())) 
                AND YEAR(createAt) = YEAR(GETDATE())) = 0 THEN 0
        ELSE ROUND(
            (
                (SELECT COUNT(*) FROM Userr
                 WHERE role_id = 'R2' 
                   AND MONTH(createAt) = MONTH(GETDATE()) 
                   AND YEAR(createAt) = YEAR(GETDATE())) -
                (SELECT COUNT(*) FROM Userr
                 WHERE role_id = 'R2' 
                   AND MONTH(createAt) = MONTH(DATEADD(MONTH, -1, GETDATE())) 
                   AND YEAR(createAt) = YEAR(GETDATE()))
            ) * 100.0 / NULLIF(
                (SELECT COUNT(*) FROM Userr
                 WHERE role_id = 'R2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27" y="1726"/>
    <p:text>SELECT 
    -- Total Mentors This Week
    (SELECT COUNT(*) FROM Userr 
     WHERE role_id = 'R1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1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1' 
                   AND DATEPART(WEEK, createAt) = DATEPART(WEEK, GETDATE()) 
                   AND YEAR(createAt) = YEAR(GETDATE())) -
                (SELECT COUNT(*) FROM Userr 
                 WHERE role_id = 'R1' 
                   AND DATEPART(WEEK, createAt) = DATEPART(WEEK, DATEADD(WEEK, -1, GETDATE())) 
                   AND YEAR(createAt) = YEAR(DATEADD(WEEK, -1, GETDATE())))
            ) / NULLIF(
                (SELECT COUNT(*) FROM Userr 
                 WHERE role_id = 'R1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255"/>
    <p:text>SELECT 
    -- Total Mentors This Week
    (SELECT COUNT(*) FROM Userr 
     WHERE role_id = 'R2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2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2' 
                   AND DATEPART(WEEK, createAt) = DATEPART(WEEK, GETDATE()) 
                   AND YEAR(createAt) = YEAR(GETDATE())) -
                (SELECT COUNT(*) FROM Userr 
                 WHERE role_id = 'R2' 
                   AND DATEPART(WEEK, createAt) = DATEPART(WEEK, DATEADD(WEEK, -1, GETDATE())) 
                   AND YEAR(createAt) = YEAR(DATEADD(WEEK, -1, GETDATE())))
            ) / NULLIF(
                (SELECT COUNT(*) FROM Userr 
                 WHERE role_id = 'R2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Userr
GROUP BY 
    CASE
        WHEN age BETWEEN 15 AND 20 THEN '15-20'
        WHEN age BETWEEN 21 AND 25 THEN '21-25'
        WHEN age BETWEEN 26 AND 30 THEN '26-30'
        WHEN age BETWEEN 31 AND 35 THEN '31-35'
        ELSE 'Other'
    END,
    gender
ORDER BY AgeGroup, gend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5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5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SELECT ALL FOLLOW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*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Follow 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.follow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ollowee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Dem so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luong</a:t>
            </a:r>
            <a:r>
              <a:rPr lang="en-US" sz="1200" b="0" kern="0" noProof="0" dirty="0">
                <a:solidFill>
                  <a:schemeClr val="bg1"/>
                </a:solidFill>
              </a:rPr>
              <a:t> tat ca follow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Follow 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ollowee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12239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5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1" y="184125"/>
            <a:ext cx="3481446" cy="739420"/>
          </a:xfrm>
        </p:spPr>
        <p:txBody>
          <a:bodyPr/>
          <a:lstStyle/>
          <a:p>
            <a:r>
              <a:rPr lang="en-GB" noProof="0" dirty="0"/>
              <a:t>Mentor Man</a:t>
            </a:r>
            <a:r>
              <a:rPr lang="en-GB" dirty="0"/>
              <a:t>age Follo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E09A419-BEE4-59F3-71C7-C44EF0009B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234" y="0"/>
            <a:ext cx="7171765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4FB03E-8864-B6F0-DC7E-98BB475F96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28" y="1414970"/>
            <a:ext cx="3622506" cy="4557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9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4EFED66-26E5-4859-01F1-CB87279D2D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9960" y="0"/>
            <a:ext cx="5844654" cy="71028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9759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AC6E3E1-079A-0221-0DE3-83BDB045E2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1404" y="0"/>
            <a:ext cx="48480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388" y="775374"/>
            <a:ext cx="5297612" cy="60826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FE6E89-C3A3-6023-A0E4-920FB6FF6F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7385" y="0"/>
            <a:ext cx="4962584" cy="899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633</TotalTime>
  <Words>527</Words>
  <Application>Microsoft Office PowerPoint</Application>
  <PresentationFormat>Widescreen</PresentationFormat>
  <Paragraphs>108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Followers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Dang Tai</cp:lastModifiedBy>
  <cp:revision>95</cp:revision>
  <dcterms:created xsi:type="dcterms:W3CDTF">2023-03-02T06:20:39Z</dcterms:created>
  <dcterms:modified xsi:type="dcterms:W3CDTF">2024-07-05T08:5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